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9/09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9/09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0003_f_order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0003_orde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algn="just"/>
            <a:r>
              <a:rPr lang="en-US" dirty="0"/>
              <a:t>This function calculates the deformation order of the two sectors of a car during a frontal crash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F2094F9B-F28B-472B-A4AF-68174DCBE082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78487" y="2913856"/>
            <a:ext cx="3248025" cy="1400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3_ord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ces during the cras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𝑜𝑟𝑑𝑒𝑟</m:t>
                      </m:r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</Words>
  <Application>Microsoft Office PowerPoint</Application>
  <PresentationFormat>A4-Papier (210 x 297 mm)</PresentationFormat>
  <Paragraphs>6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3_order</vt:lpstr>
      <vt:lpstr>M0003_ord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28</cp:revision>
  <dcterms:created xsi:type="dcterms:W3CDTF">2020-02-28T15:45:41Z</dcterms:created>
  <dcterms:modified xsi:type="dcterms:W3CDTF">2020-09-29T06:49:02Z</dcterms:modified>
</cp:coreProperties>
</file>